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60" r:id="rId5"/>
    <p:sldId id="259" r:id="rId6"/>
    <p:sldId id="261" r:id="rId7"/>
    <p:sldId id="265" r:id="rId8"/>
    <p:sldId id="264" r:id="rId9"/>
    <p:sldId id="266" r:id="rId10"/>
    <p:sldId id="267" r:id="rId11"/>
    <p:sldId id="263" r:id="rId12"/>
    <p:sldId id="268" r:id="rId13"/>
    <p:sldId id="274" r:id="rId14"/>
    <p:sldId id="271" r:id="rId15"/>
    <p:sldId id="269" r:id="rId16"/>
    <p:sldId id="270" r:id="rId17"/>
    <p:sldId id="273" r:id="rId18"/>
    <p:sldId id="272" r:id="rId1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7"/>
    <p:restoredTop sz="94682"/>
  </p:normalViewPr>
  <p:slideViewPr>
    <p:cSldViewPr snapToGrid="0">
      <p:cViewPr varScale="1">
        <p:scale>
          <a:sx n="115" d="100"/>
          <a:sy n="115" d="100"/>
        </p:scale>
        <p:origin x="61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73815-2707-4475-8F1A-B873CB631BB4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6A301-0538-44EC-B09D-202E1042A48B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9574A-8875-45EF-8EA2-3CAA0F7ABC4C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F4D4C-5367-4C26-9E2B-D8088D7FCA81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1E96-98B0-4413-9547-46F3504108EF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68B11-C5A8-448C-8CE9-B1A273C79CFC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16CA0-919D-4A49-9C8A-62FDFB3A5183}" type="datetimeFigureOut">
              <a:rPr lang="en-US" dirty="0"/>
              <a:t>12/10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0422B8-A9CB-34BF-4E4A-C2C27D02E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398618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90298CD5-6C1E-4009-B41F-6DF62E31D3BE}" type="datetimeFigureOut">
              <a:rPr lang="en-US" dirty="0"/>
              <a:pPr/>
              <a:t>12/10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6.png"/><Relationship Id="rId4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5" Type="http://schemas.openxmlformats.org/officeDocument/2006/relationships/image" Target="../media/image17.png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8.png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1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1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22.png"/><Relationship Id="rId4" Type="http://schemas.openxmlformats.org/officeDocument/2006/relationships/image" Target="../media/image1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hyperlink" Target="https://github.com/YData123/sds365-fa24/raw/main/lectures/lecture-oct-30.pdf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hyperlink" Target="https://gameonfamily.com/pig-dice/" TargetMode="External"/><Relationship Id="rId5" Type="http://schemas.openxmlformats.org/officeDocument/2006/relationships/hyperlink" Target="https://www.cs.princeton.edu/courses/archive/spring19/cos324/files/expectimax.pdf" TargetMode="External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1.png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5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BEFFDB-9A5A-7E1B-0B99-CD000940C0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487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CA8764-E8B1-F8D9-82B3-1A833EA77E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b="1" dirty="0"/>
              <a:t>Pig</a:t>
            </a:r>
            <a:r>
              <a:rPr lang="en-US" dirty="0"/>
              <a:t>: a Dice Game </a:t>
            </a:r>
            <a:br>
              <a:rPr lang="en-US" dirty="0"/>
            </a:br>
            <a:r>
              <a:rPr lang="en-US" dirty="0"/>
              <a:t>of Strategic ch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48FB5D-8EE2-C828-3C44-85109F3BA77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Elder Veliz</a:t>
            </a:r>
          </a:p>
          <a:p>
            <a:r>
              <a:rPr lang="en-US" dirty="0"/>
              <a:t>12-03-2024</a:t>
            </a:r>
          </a:p>
        </p:txBody>
      </p:sp>
      <p:pic>
        <p:nvPicPr>
          <p:cNvPr id="1026" name="Picture 2" descr="How to Play the Pig Dice Game | Rules, Instructions, and More">
            <a:extLst>
              <a:ext uri="{FF2B5EF4-FFF2-40B4-BE49-F238E27FC236}">
                <a16:creationId xmlns:a16="http://schemas.microsoft.com/office/drawing/2014/main" id="{3919F394-202A-3BEC-28AE-9BEE7740E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510" y="869074"/>
            <a:ext cx="4550979" cy="255992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4658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CAE680-DCE4-02D0-0042-ACBB4DAD7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7DF96E5-0EE5-8471-69CF-6BAACAA72C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E9EA38-629C-B2A8-308A-87C3849DC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49494A-E593-A23E-EE54-CB4A4DC27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olving for the “optimal” Strateg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B61CB59-76E3-2EA7-C317-9FB46F7897D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773193" y="1725587"/>
                <a:ext cx="10221941" cy="5132413"/>
              </a:xfrm>
            </p:spPr>
            <p:txBody>
              <a:bodyPr>
                <a:normAutofit lnSpcReduction="10000"/>
              </a:bodyPr>
              <a:lstStyle/>
              <a:p>
                <a:pPr marL="0" indent="0">
                  <a:buNone/>
                </a:pPr>
                <a:r>
                  <a:rPr lang="en-US" dirty="0"/>
                  <a:t>We use a </a:t>
                </a:r>
                <a:r>
                  <a:rPr lang="en-US" b="1" dirty="0"/>
                  <a:t>zero-sum</a:t>
                </a:r>
                <a:r>
                  <a:rPr lang="en-US" dirty="0"/>
                  <a:t> framework where maximizing our pay minimizes opponent’s payoff</a:t>
                </a:r>
              </a:p>
              <a:p>
                <a:pPr marL="0" indent="0">
                  <a:buNone/>
                </a:pPr>
                <a:r>
                  <a:rPr lang="en-US" dirty="0"/>
                  <a:t>	Utility of Holding:</a:t>
                </a:r>
              </a:p>
              <a:p>
                <a:pPr marL="0" indent="0">
                  <a:buNone/>
                </a:pPr>
                <a:r>
                  <a:rPr lang="en-US" dirty="0"/>
                  <a:t>		If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𝑚𝑒</m:t>
                            </m:r>
                          </m:sub>
                        </m:sSub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≥100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: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𝑚𝑒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𝑜𝑝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	Otherwise: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𝐻𝑜𝑙𝑑</m:t>
                        </m:r>
                      </m:sub>
                    </m:sSub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𝑚𝑒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𝑜𝑝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(0,</m:t>
                    </m:r>
                    <m:sSub>
                      <m:sSubPr>
                        <m:ctrlPr>
                          <a:rPr lang="en-US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𝒐𝒑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𝒎𝒆</m:t>
                        </m:r>
                      </m:sub>
                    </m:sSub>
                    <m:r>
                      <a:rPr lang="en-US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Utility of Rolling:</a:t>
                </a:r>
              </a:p>
              <a:p>
                <a:pPr marL="0" indent="0">
                  <a:buNone/>
                </a:pPr>
                <a:r>
                  <a:rPr lang="en-US" dirty="0"/>
                  <a:t>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𝑅𝑜𝑙𝑙</m:t>
                        </m:r>
                      </m:sub>
                    </m:sSub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𝑚𝑒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𝑜𝑝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(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,</m:t>
                        </m:r>
                        <m:sSub>
                          <m:sSubPr>
                            <m:ctrlPr>
                              <a:rPr lang="en-US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en-US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𝒐𝒑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1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en-US" b="1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𝒎𝒆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2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sup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b="0" i="1">
                                    <a:latin typeface="Cambria Math" panose="02040503050406030204" pitchFamily="18" charset="0"/>
                                  </a:rPr>
                                  <m:t>𝑚𝑒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𝑜𝑝</m:t>
                                </m:r>
                              </m:sub>
                            </m:sSub>
                          </m:e>
                        </m:d>
                      </m:e>
                    </m:nary>
                    <m:r>
                      <a:rPr lang="en-US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For given stat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m:rPr>
                        <m:sty m:val="p"/>
                      </m:rPr>
                      <a:rPr lang="en-US" b="0" i="1" smtClean="0">
                        <a:latin typeface="Cambria Math" panose="02040503050406030204" pitchFamily="18" charset="0"/>
                      </a:rPr>
                      <m:t>S</m:t>
                    </m:r>
                  </m:oMath>
                </a14:m>
                <a:r>
                  <a:rPr lang="en-US" dirty="0"/>
                  <a:t>, </a:t>
                </a:r>
                <a:r>
                  <a:rPr lang="en-US" b="1" dirty="0"/>
                  <a:t>value function:</a:t>
                </a: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∈{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𝑅𝑜𝑙𝑙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𝐻𝑜𝑙𝑑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}</m:t>
                            </m:r>
                          </m:lim>
                        </m:limLow>
                      </m:fName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𝐸𝑥𝑝𝑒𝑐𝑡𝑒𝑑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𝑈𝑡𝑖𝑙𝑖𝑡𝑦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𝐴𝑐𝑡𝑖𝑜𝑛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func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Bellman Equation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limLow>
                      <m:limLow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max</m:t>
                        </m:r>
                      </m:e>
                      <m:lim>
                        <m:r>
                          <a:rPr lang="en-US" i="1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lim>
                    </m:limLow>
                    <m:nary>
                      <m:naryPr>
                        <m:chr m:val="∑"/>
                        <m:supHide m:val="on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′</m:t>
                        </m:r>
                      </m:sub>
                      <m:sup/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e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[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𝛾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]</m:t>
                        </m:r>
                      </m:e>
                    </m:nary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b="1" dirty="0"/>
                  <a:t>Policy: </a:t>
                </a:r>
                <a:r>
                  <a:rPr lang="en-US" dirty="0"/>
                  <a:t>At each state, action with highest utility recorded as optimal action.</a:t>
                </a:r>
                <a:endParaRPr lang="en-US" dirty="0">
                  <a:solidFill>
                    <a:srgbClr val="0E0E0E"/>
                  </a:solidFill>
                  <a:effectLst/>
                  <a:latin typeface=".AppleSystemUIFont"/>
                </a:endParaRPr>
              </a:p>
              <a:p>
                <a:pPr marL="0" indent="0">
                  <a:buNone/>
                </a:pPr>
                <a:endParaRPr lang="en-US" b="1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B61CB59-76E3-2EA7-C317-9FB46F7897D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73193" y="1725587"/>
                <a:ext cx="10221941" cy="5132413"/>
              </a:xfrm>
              <a:blipFill>
                <a:blip r:embed="rId5"/>
                <a:stretch>
                  <a:fillRect l="-1117" t="-19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1753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615EC-370A-D884-01FD-A367A17325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0A9B1D-173C-B26A-3C8B-2707C75D07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78703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41E95-3985-BDDF-F3B6-8D61DCA80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E0ADD3-8B0D-6787-9EEC-298FEB25D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justments for converge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9187BEE-D76D-3683-3933-9ECA7F02D0D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024128" y="2233450"/>
                <a:ext cx="3285113" cy="4572000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𝜸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dirty="0"/>
                  <a:t>, discount factor chosen emphasize </a:t>
                </a:r>
                <a:r>
                  <a:rPr lang="en-US" i="1" dirty="0"/>
                  <a:t>future</a:t>
                </a:r>
                <a:r>
                  <a:rPr lang="en-US" dirty="0"/>
                  <a:t> over immediate rewards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𝑻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∈[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𝟓𝟎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en-US" b="1" dirty="0"/>
                  <a:t>, </a:t>
                </a:r>
                <a:r>
                  <a:rPr lang="en-US" dirty="0"/>
                  <a:t>turn total truncated to reduce computation</a:t>
                </a:r>
              </a:p>
              <a:p>
                <a:pPr marL="0" indent="0">
                  <a:buNone/>
                </a:pPr>
                <a:r>
                  <a:rPr lang="en-US" b="1" dirty="0"/>
                  <a:t>Zero-Sum</a:t>
                </a:r>
                <a:r>
                  <a:rPr lang="en-US" dirty="0"/>
                  <a:t> framework assumes </a:t>
                </a:r>
                <a:r>
                  <a:rPr lang="en-US" i="1" dirty="0"/>
                  <a:t>both</a:t>
                </a:r>
                <a:r>
                  <a:rPr lang="en-US" dirty="0"/>
                  <a:t> players play optimally</a:t>
                </a:r>
                <a:endParaRPr lang="en-US" b="1" dirty="0"/>
              </a:p>
              <a:p>
                <a:pPr marL="0" indent="0">
                  <a:buNone/>
                </a:pPr>
                <a:r>
                  <a:rPr lang="en-US" b="1" dirty="0"/>
                  <a:t>	</a:t>
                </a:r>
              </a:p>
              <a:p>
                <a:pPr marL="0" indent="0">
                  <a:buNone/>
                </a:pPr>
                <a:r>
                  <a:rPr lang="en-US" b="1" dirty="0"/>
                  <a:t>	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9187BEE-D76D-3683-3933-9ECA7F02D0D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24128" y="2233450"/>
                <a:ext cx="3285113" cy="4572000"/>
              </a:xfrm>
              <a:blipFill>
                <a:blip r:embed="rId5"/>
                <a:stretch>
                  <a:fillRect l="-3462" t="-16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 descr="A graph with a blue line&#10;&#10;Description automatically generated">
            <a:extLst>
              <a:ext uri="{FF2B5EF4-FFF2-40B4-BE49-F238E27FC236}">
                <a16:creationId xmlns:a16="http://schemas.microsoft.com/office/drawing/2014/main" id="{62D0A897-9D6F-10E9-02CE-D79409CCF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8601" y="1765738"/>
            <a:ext cx="7772400" cy="488703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36703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C35630E-9421-83A7-340A-C307BC2BCC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795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E925067-FD7E-6779-A3AA-6DB559307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vidence of sensible OPTIMAL policy</a:t>
            </a:r>
          </a:p>
        </p:txBody>
      </p:sp>
      <p:pic>
        <p:nvPicPr>
          <p:cNvPr id="3" name="Picture 2" descr="A graph of a game&#10;&#10;Description automatically generated with medium confidence">
            <a:extLst>
              <a:ext uri="{FF2B5EF4-FFF2-40B4-BE49-F238E27FC236}">
                <a16:creationId xmlns:a16="http://schemas.microsoft.com/office/drawing/2014/main" id="{24405801-E024-54EA-F74D-75859975A5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8127" y="1661532"/>
            <a:ext cx="4995746" cy="4995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02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B4DFD-DD0D-3E37-5495-2EA3D3982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B88005-17A3-FB4D-23F2-1245C53301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1317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5630E-9421-83A7-340A-C307BC2BC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1C299FD-DDFF-E197-F636-EAA80166B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vidence of sensible </a:t>
            </a:r>
            <a:r>
              <a:rPr lang="en-US" dirty="0" err="1"/>
              <a:t>STAte</a:t>
            </a:r>
            <a:r>
              <a:rPr lang="en-US" dirty="0"/>
              <a:t> values</a:t>
            </a:r>
          </a:p>
        </p:txBody>
      </p:sp>
      <p:pic>
        <p:nvPicPr>
          <p:cNvPr id="10" name="Picture 9" descr="A screenshot of a graph&#10;&#10;Description automatically generated">
            <a:extLst>
              <a:ext uri="{FF2B5EF4-FFF2-40B4-BE49-F238E27FC236}">
                <a16:creationId xmlns:a16="http://schemas.microsoft.com/office/drawing/2014/main" id="{7034D50F-561B-A151-7DF3-248998F80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2373" y="1610385"/>
            <a:ext cx="5147254" cy="514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76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E65806-2AA1-0E7E-FC58-D3507B3705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80337AF-B4AA-6548-C05D-2BF18B3A6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5166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529CC3-FCCD-D127-5283-7199A5B1F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362EE860-54A9-A851-07F6-AFCE5D4F9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 vert="horz"/>
          <a:lstStyle/>
          <a:p>
            <a:r>
              <a:rPr lang="en-US" dirty="0"/>
              <a:t>Two Heuristic AGENTS</a:t>
            </a:r>
          </a:p>
        </p:txBody>
      </p:sp>
      <p:pic>
        <p:nvPicPr>
          <p:cNvPr id="3" name="Picture 2" descr="A graph of a strategy&#10;&#10;Description automatically generated with medium confidence">
            <a:extLst>
              <a:ext uri="{FF2B5EF4-FFF2-40B4-BE49-F238E27FC236}">
                <a16:creationId xmlns:a16="http://schemas.microsoft.com/office/drawing/2014/main" id="{1562898E-D7B0-77C5-EA3F-A6A3550703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2245577"/>
            <a:ext cx="7772400" cy="362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03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0C728B-B981-7D47-014D-279DA7E5C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EC196F-2094-899E-CA79-D5F639345F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5929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5630E-9421-83A7-340A-C307BC2BC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4528E54-0BCB-146C-131B-2D5FA57D3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wo optimal AGENTS</a:t>
            </a:r>
          </a:p>
        </p:txBody>
      </p:sp>
      <p:pic>
        <p:nvPicPr>
          <p:cNvPr id="3" name="Picture 2" descr="A graph of a policy&#10;&#10;Description automatically generated with medium confidence">
            <a:extLst>
              <a:ext uri="{FF2B5EF4-FFF2-40B4-BE49-F238E27FC236}">
                <a16:creationId xmlns:a16="http://schemas.microsoft.com/office/drawing/2014/main" id="{18A416E6-FA97-B1C2-31C6-C227A5094C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2290182"/>
            <a:ext cx="7772400" cy="362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2389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247AE-3600-133A-409A-8B47291FE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529CC3-FCCD-D127-5283-7199A5B1F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2014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EC196F-2094-899E-CA79-D5F639345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">
            <a:extLst>
              <a:ext uri="{FF2B5EF4-FFF2-40B4-BE49-F238E27FC236}">
                <a16:creationId xmlns:a16="http://schemas.microsoft.com/office/drawing/2014/main" id="{37F46EF8-0F3B-FA91-D8AF-37FDE534D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 vert="horz"/>
          <a:lstStyle/>
          <a:p>
            <a:r>
              <a:rPr lang="en-US" dirty="0"/>
              <a:t>Optimal vs. Heuristic AGENT</a:t>
            </a:r>
          </a:p>
        </p:txBody>
      </p:sp>
      <p:pic>
        <p:nvPicPr>
          <p:cNvPr id="3" name="Picture 2" descr="A graph of a player&#10;&#10;Description automatically generated with medium confidence">
            <a:extLst>
              <a:ext uri="{FF2B5EF4-FFF2-40B4-BE49-F238E27FC236}">
                <a16:creationId xmlns:a16="http://schemas.microsoft.com/office/drawing/2014/main" id="{5D28FD60-4484-F3AF-7805-B65EF52989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2274401"/>
            <a:ext cx="7772400" cy="362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5856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EF15B0F-C7F0-499F-D7B3-B6B5DA0BE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3420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9E56344-C781-C523-939C-3BDB6709F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rther investiga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BB708C0B-EC39-01F7-74C3-DFFF447B19F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Starting player advantage</a:t>
                </a:r>
              </a:p>
              <a:p>
                <a:pPr lvl="1"/>
                <a:r>
                  <a:rPr lang="en-US" dirty="0"/>
                  <a:t>Determine viable method to balance the game.</a:t>
                </a:r>
              </a:p>
              <a:p>
                <a:r>
                  <a:rPr lang="en-US" dirty="0"/>
                  <a:t>Finetuning o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US" dirty="0"/>
                  <a:t> (balance between immediate and future rewards)</a:t>
                </a:r>
              </a:p>
              <a:p>
                <a:pPr lvl="1"/>
                <a:r>
                  <a:rPr lang="en-US" dirty="0"/>
                  <a:t>Will propensity to “hold” with smaller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US" dirty="0"/>
                  <a:t> yield benefits?</a:t>
                </a:r>
              </a:p>
              <a:p>
                <a:r>
                  <a:rPr lang="en-US" dirty="0"/>
                  <a:t>Influence of target score on strategies</a:t>
                </a:r>
              </a:p>
              <a:p>
                <a:pPr lvl="1"/>
                <a:r>
                  <a:rPr lang="en-US" dirty="0"/>
                  <a:t>How does decreasing or increasing target score affect heuristic and optimal policy strategies?</a:t>
                </a:r>
              </a:p>
              <a:p>
                <a:r>
                  <a:rPr lang="en-US" dirty="0"/>
                  <a:t>Incorporate slight randomness in policy choices</a:t>
                </a:r>
              </a:p>
              <a:p>
                <a:pPr lvl="1"/>
                <a:r>
                  <a:rPr lang="en-US" dirty="0"/>
                  <a:t>Will a non-deterministic decision-making process more realistically model human behavior?</a:t>
                </a:r>
              </a:p>
              <a:p>
                <a:pPr marL="0" indent="0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BB708C0B-EC39-01F7-74C3-DFFF447B19F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5"/>
                <a:stretch>
                  <a:fillRect l="-261" t="-22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34786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C293EC0-414B-A172-835B-811835D8D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329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206AF7-253D-5F94-B7EE-B54F0BACE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feren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3CAF2B-36D3-BF27-9A09-4D706E4AF5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Adams, R. P. (2019). </a:t>
            </a:r>
            <a:r>
              <a:rPr lang="en-US" i="1" dirty="0">
                <a:solidFill>
                  <a:srgbClr val="0E0E0E"/>
                </a:solidFill>
                <a:effectLst/>
                <a:latin typeface=".AppleSystemUIFont"/>
              </a:rPr>
              <a:t>Markov Decision Processes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. COS324 Elements of Machine Learning, Princeton University. Retrieved from 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  <a:hlinkClick r:id="rId5"/>
              </a:rPr>
              <a:t>https://www.cs.princeton.edu/courses/archive/spring19/cos324/files/expectimax.pdf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 </a:t>
            </a:r>
          </a:p>
          <a:p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Game On Family, “How to Play the Pig Dice Game,” 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  <a:hlinkClick r:id="rId6"/>
              </a:rPr>
              <a:t>https://gameonfamily.com/pig-dice/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.</a:t>
            </a:r>
            <a:endParaRPr lang="en-US" dirty="0">
              <a:solidFill>
                <a:srgbClr val="0E0E0E"/>
              </a:solidFill>
              <a:latin typeface=".AppleSystemUIFont"/>
            </a:endParaRPr>
          </a:p>
          <a:p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Lafferty, J. (2024). </a:t>
            </a:r>
            <a:r>
              <a:rPr lang="en-US" i="1" dirty="0">
                <a:solidFill>
                  <a:srgbClr val="0E0E0E"/>
                </a:solidFill>
                <a:effectLst/>
                <a:latin typeface=".AppleSystemUIFont"/>
              </a:rPr>
              <a:t>Reinforcement Learning: Policy Methods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. S&amp;DS 365 Intermediate Machine Learning, Yale University. Retrieved from 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  <a:hlinkClick r:id="rId7"/>
              </a:rPr>
              <a:t>https://github.com/YData123/sds365-fa24/raw/main/lectures/lecture-oct-30.pdf</a:t>
            </a:r>
            <a:r>
              <a:rPr lang="en-US" dirty="0">
                <a:solidFill>
                  <a:srgbClr val="0E0E0E"/>
                </a:solidFill>
                <a:effectLst/>
                <a:latin typeface=".AppleSystemUIFont"/>
              </a:rPr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69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F7CCE11-EE7F-7997-FDB6-1C88E8D5F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9401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B8158A-7EBE-53E9-9127-7251FF7C2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to Pl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F8D732-4CC4-3A3A-5303-C04101CB0E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4129" y="2286000"/>
            <a:ext cx="6692516" cy="4023360"/>
          </a:xfrm>
        </p:spPr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en-US" b="1" dirty="0"/>
              <a:t> Set-up</a:t>
            </a:r>
            <a:r>
              <a:rPr lang="en-US" dirty="0"/>
              <a:t>: 1 fair, six-sided die and 1+ (non-)human player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/>
              <a:t> Player(s) alternate turns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/>
              <a:t> If a player rolls a 1, they lose all points </a:t>
            </a:r>
            <a:r>
              <a:rPr lang="en-US" sz="2200" b="1" dirty="0"/>
              <a:t>accumulated</a:t>
            </a:r>
            <a:r>
              <a:rPr lang="en-US" sz="2200" dirty="0"/>
              <a:t> in that turn and their turn ends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/>
              <a:t> If a player rolls a 2-6, they can choose to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200" dirty="0"/>
              <a:t> "hold" and bank the points accumulated in that turn,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200" dirty="0"/>
              <a:t> or roll again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/>
              <a:t> The first player to reach or exceed the target score of 100 wins the game.</a:t>
            </a:r>
          </a:p>
        </p:txBody>
      </p:sp>
      <p:pic>
        <p:nvPicPr>
          <p:cNvPr id="2054" name="Picture 6" descr="Giant Wooden Dice - Mind Games">
            <a:extLst>
              <a:ext uri="{FF2B5EF4-FFF2-40B4-BE49-F238E27FC236}">
                <a16:creationId xmlns:a16="http://schemas.microsoft.com/office/drawing/2014/main" id="{207D4064-1B2A-FD9C-AA2B-8F28AAD0A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0462" y="0"/>
            <a:ext cx="2451538" cy="245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0F1C2E2A-9038-DF35-E64E-C01A229B6958}"/>
              </a:ext>
            </a:extLst>
          </p:cNvPr>
          <p:cNvSpPr/>
          <p:nvPr/>
        </p:nvSpPr>
        <p:spPr>
          <a:xfrm>
            <a:off x="8232580" y="3042699"/>
            <a:ext cx="1365896" cy="136589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oll</a:t>
            </a:r>
          </a:p>
          <a:p>
            <a:pPr algn="ctr"/>
            <a:r>
              <a:rPr lang="en-US" dirty="0"/>
              <a:t>2-6</a:t>
            </a:r>
          </a:p>
        </p:txBody>
      </p:sp>
      <p:cxnSp>
        <p:nvCxnSpPr>
          <p:cNvPr id="11" name="Curved Connector 10">
            <a:extLst>
              <a:ext uri="{FF2B5EF4-FFF2-40B4-BE49-F238E27FC236}">
                <a16:creationId xmlns:a16="http://schemas.microsoft.com/office/drawing/2014/main" id="{3FD19B42-CAC3-FE9B-50BE-5A4948F55CD1}"/>
              </a:ext>
            </a:extLst>
          </p:cNvPr>
          <p:cNvCxnSpPr>
            <a:cxnSpLocks/>
            <a:stCxn id="7" idx="7"/>
            <a:endCxn id="7" idx="0"/>
          </p:cNvCxnSpPr>
          <p:nvPr/>
        </p:nvCxnSpPr>
        <p:spPr>
          <a:xfrm rot="16200000" flipV="1">
            <a:off x="9056972" y="2901256"/>
            <a:ext cx="200031" cy="482917"/>
          </a:xfrm>
          <a:prstGeom prst="curvedConnector3">
            <a:avLst>
              <a:gd name="adj1" fmla="val 214282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urved Connector 18">
            <a:extLst>
              <a:ext uri="{FF2B5EF4-FFF2-40B4-BE49-F238E27FC236}">
                <a16:creationId xmlns:a16="http://schemas.microsoft.com/office/drawing/2014/main" id="{F6D312DA-165A-8EA9-DFCB-AAE6181DE52C}"/>
              </a:ext>
            </a:extLst>
          </p:cNvPr>
          <p:cNvCxnSpPr>
            <a:cxnSpLocks/>
            <a:stCxn id="7" idx="6"/>
            <a:endCxn id="28" idx="2"/>
          </p:cNvCxnSpPr>
          <p:nvPr/>
        </p:nvCxnSpPr>
        <p:spPr>
          <a:xfrm>
            <a:off x="9598476" y="3725647"/>
            <a:ext cx="684807" cy="12700"/>
          </a:xfrm>
          <a:prstGeom prst="curved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urved Connector 21">
            <a:extLst>
              <a:ext uri="{FF2B5EF4-FFF2-40B4-BE49-F238E27FC236}">
                <a16:creationId xmlns:a16="http://schemas.microsoft.com/office/drawing/2014/main" id="{E6653F62-33DF-822A-1045-07451C880FCF}"/>
              </a:ext>
            </a:extLst>
          </p:cNvPr>
          <p:cNvCxnSpPr>
            <a:cxnSpLocks/>
            <a:stCxn id="7" idx="4"/>
            <a:endCxn id="30" idx="2"/>
          </p:cNvCxnSpPr>
          <p:nvPr/>
        </p:nvCxnSpPr>
        <p:spPr>
          <a:xfrm rot="16200000" flipH="1">
            <a:off x="8646050" y="4678073"/>
            <a:ext cx="1001732" cy="462776"/>
          </a:xfrm>
          <a:prstGeom prst="curved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ADBFD77B-7E3E-8E71-8081-584BE47E1482}"/>
              </a:ext>
            </a:extLst>
          </p:cNvPr>
          <p:cNvSpPr/>
          <p:nvPr/>
        </p:nvSpPr>
        <p:spPr>
          <a:xfrm>
            <a:off x="10283283" y="3042699"/>
            <a:ext cx="1365896" cy="136589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oll</a:t>
            </a:r>
          </a:p>
          <a:p>
            <a:pPr algn="ctr"/>
            <a:r>
              <a:rPr lang="en-US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EF429D8-F068-E331-EC73-0CE64D955ABB}"/>
              </a:ext>
            </a:extLst>
          </p:cNvPr>
          <p:cNvSpPr/>
          <p:nvPr/>
        </p:nvSpPr>
        <p:spPr>
          <a:xfrm>
            <a:off x="9378304" y="4727379"/>
            <a:ext cx="1365896" cy="136589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d</a:t>
            </a:r>
          </a:p>
        </p:txBody>
      </p:sp>
    </p:spTree>
    <p:extLst>
      <p:ext uri="{BB962C8B-B14F-4D97-AF65-F5344CB8AC3E}">
        <p14:creationId xmlns:p14="http://schemas.microsoft.com/office/powerpoint/2010/main" val="3098803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306583-62DA-09DC-832D-379C3CF6F1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9675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1E1F56-AD7A-B625-AC9A-1BA6A8F19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euristic Strateg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53F1B49-D5DE-E15A-A01E-1E6E972D205F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</p:spPr>
            <p:txBody>
              <a:bodyPr>
                <a:normAutofit/>
              </a:bodyPr>
              <a:lstStyle/>
              <a:p>
                <a:r>
                  <a:rPr lang="en-US" dirty="0"/>
                  <a:t>Let </a:t>
                </a:r>
                <a:r>
                  <a:rPr lang="en-US" b="1" i="1" dirty="0"/>
                  <a:t>X</a:t>
                </a:r>
                <a:r>
                  <a:rPr lang="en-US" dirty="0"/>
                  <a:t> be the number of successful rolls until the first failure (i.e. roll a 1)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~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𝐺𝑒𝑜𝑚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6</m:t>
                            </m:r>
                          </m:den>
                        </m:f>
                      </m:e>
                    </m:d>
                  </m:oMath>
                </a14:m>
                <a:r>
                  <a:rPr lang="en-US" b="0" dirty="0"/>
                  <a:t>,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6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=</m:t>
                    </m:r>
                    <m:r>
                      <a:rPr lang="en-US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en-US" b="1" dirty="0"/>
                  <a:t> rolls</a:t>
                </a:r>
              </a:p>
              <a:p>
                <a:pPr marL="0" indent="0">
                  <a:buNone/>
                </a:pPr>
                <a:r>
                  <a:rPr lang="en-US" dirty="0"/>
                  <a:t>Let </a:t>
                </a:r>
                <a:r>
                  <a:rPr lang="en-US" b="1" i="1" dirty="0"/>
                  <a:t>R</a:t>
                </a:r>
                <a:r>
                  <a:rPr lang="en-US" dirty="0"/>
                  <a:t> be the value of a </a:t>
                </a:r>
                <a:r>
                  <a:rPr lang="en-US" u="sng" dirty="0"/>
                  <a:t>successful</a:t>
                </a:r>
                <a:r>
                  <a:rPr lang="en-US" dirty="0"/>
                  <a:t> die roll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~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𝐷𝑖𝑠𝑐𝑟𝑒𝑡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𝑈𝑛𝑖𝑓𝑜𝑟𝑚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, 6</m:t>
                        </m:r>
                      </m:e>
                    </m:d>
                  </m:oMath>
                </a14:m>
                <a:r>
                  <a:rPr lang="en-US" b="0" dirty="0"/>
                  <a:t>,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2+6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𝟒</m:t>
                    </m:r>
                  </m:oMath>
                </a14:m>
                <a:endParaRPr lang="en-US" b="0" dirty="0"/>
              </a:p>
              <a:p>
                <a:pPr marL="0" indent="0">
                  <a:buNone/>
                </a:pPr>
                <a:r>
                  <a:rPr lang="en-US" dirty="0"/>
                  <a:t>We might be inclined to believ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dirty="0"/>
                  <a:t> are independent, in which case: 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⋅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𝑅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⋅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𝑅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5 ∗4=20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This has spurred the following heuristic:</a:t>
                </a:r>
              </a:p>
              <a:p>
                <a:pPr marL="0" indent="0">
                  <a:buNone/>
                </a:pPr>
                <a:r>
                  <a:rPr lang="en-US" dirty="0"/>
                  <a:t>	Let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dirty="0"/>
                  <a:t> denote the cumulative turn total.</a:t>
                </a:r>
              </a:p>
              <a:p>
                <a:pPr marL="0" indent="0">
                  <a:buNone/>
                </a:pPr>
                <a:r>
                  <a:rPr lang="en-US" b="1" dirty="0"/>
                  <a:t>	“Roll” while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𝑻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𝟐𝟎</m:t>
                    </m:r>
                  </m:oMath>
                </a14:m>
                <a:r>
                  <a:rPr lang="en-US" b="1" dirty="0"/>
                  <a:t>; “Hold” when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𝑻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𝟐𝟎</m:t>
                    </m:r>
                  </m:oMath>
                </a14:m>
                <a:r>
                  <a:rPr lang="en-US" b="1" dirty="0"/>
                  <a:t>.</a:t>
                </a:r>
              </a:p>
              <a:p>
                <a:pPr marL="0" indent="0">
                  <a:buNone/>
                </a:pPr>
                <a:endParaRPr lang="en-US" b="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53F1B49-D5DE-E15A-A01E-1E6E972D205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  <a:blipFill>
                <a:blip r:embed="rId5"/>
                <a:stretch>
                  <a:fillRect l="-1173" t="-1662" b="-1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26669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F87E8-AA00-2D55-5FD9-3683999AD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3DF9FFC-9238-6CC0-BBF6-14DFECF92D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B73F9E-B515-0A73-2DD5-C5AA7FF10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433752-0B1E-1C27-0837-59C27EED2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 of different “Hold” Thresholds </a:t>
            </a:r>
          </a:p>
        </p:txBody>
      </p:sp>
      <p:pic>
        <p:nvPicPr>
          <p:cNvPr id="7" name="Picture 6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81928E27-727A-B4F7-7AD6-206165DE4B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1592766"/>
            <a:ext cx="77724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53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B73F9E-B515-0A73-2DD5-C5AA7FF104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1789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3B7412-3F5B-C7E6-4835-673D3C842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 of different “Hold” Thresholds 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CB865AD1-AA07-1700-CCB8-1323124149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437626"/>
              </p:ext>
            </p:extLst>
          </p:nvPr>
        </p:nvGraphicFramePr>
        <p:xfrm>
          <a:off x="6758152" y="2007201"/>
          <a:ext cx="5034456" cy="4348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58614">
                  <a:extLst>
                    <a:ext uri="{9D8B030D-6E8A-4147-A177-3AD203B41FA5}">
                      <a16:colId xmlns:a16="http://schemas.microsoft.com/office/drawing/2014/main" val="211489946"/>
                    </a:ext>
                  </a:extLst>
                </a:gridCol>
                <a:gridCol w="1258614">
                  <a:extLst>
                    <a:ext uri="{9D8B030D-6E8A-4147-A177-3AD203B41FA5}">
                      <a16:colId xmlns:a16="http://schemas.microsoft.com/office/drawing/2014/main" val="703743634"/>
                    </a:ext>
                  </a:extLst>
                </a:gridCol>
                <a:gridCol w="1258614">
                  <a:extLst>
                    <a:ext uri="{9D8B030D-6E8A-4147-A177-3AD203B41FA5}">
                      <a16:colId xmlns:a16="http://schemas.microsoft.com/office/drawing/2014/main" val="2659983511"/>
                    </a:ext>
                  </a:extLst>
                </a:gridCol>
                <a:gridCol w="1258614">
                  <a:extLst>
                    <a:ext uri="{9D8B030D-6E8A-4147-A177-3AD203B41FA5}">
                      <a16:colId xmlns:a16="http://schemas.microsoft.com/office/drawing/2014/main" val="1864650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Threshold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Me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Medi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Varianc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63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7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3.06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4.03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8634421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8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.96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4.25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27410456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9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64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4.38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2191482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effectLst/>
                        </a:rPr>
                        <a:t>20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effectLst/>
                        </a:rPr>
                        <a:t>12.61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effectLst/>
                        </a:rPr>
                        <a:t>4.43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716844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1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80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4.58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2618043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3.00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4.81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1009985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3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96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5.06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1343026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4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73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5.23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385899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5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70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5.28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647618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26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.80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>
                          <a:effectLst/>
                        </a:rPr>
                        <a:t>12</a:t>
                      </a:r>
                    </a:p>
                  </a:txBody>
                  <a:tcPr marL="57150" marR="57150" marT="19050" marB="1905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effectLst/>
                        </a:rPr>
                        <a:t>5.39</a:t>
                      </a:r>
                    </a:p>
                  </a:txBody>
                  <a:tcPr marL="57150" marR="57150" marT="19050" marB="19050" anchor="ctr"/>
                </a:tc>
                <a:extLst>
                  <a:ext uri="{0D108BD9-81ED-4DB2-BD59-A6C34878D82A}">
                    <a16:rowId xmlns:a16="http://schemas.microsoft.com/office/drawing/2014/main" val="1460878880"/>
                  </a:ext>
                </a:extLst>
              </a:tr>
            </a:tbl>
          </a:graphicData>
        </a:graphic>
      </p:graphicFrame>
      <p:pic>
        <p:nvPicPr>
          <p:cNvPr id="4" name="Picture 3" descr="A graph with blue lines&#10;&#10;Description automatically generated">
            <a:extLst>
              <a:ext uri="{FF2B5EF4-FFF2-40B4-BE49-F238E27FC236}">
                <a16:creationId xmlns:a16="http://schemas.microsoft.com/office/drawing/2014/main" id="{CC8DC628-A426-A4F4-0785-7C9D1B3B8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728" y="2099582"/>
            <a:ext cx="6245576" cy="416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828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24805-E506-E559-E7A4-832F6EA6BB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54ADF50-5778-5EF6-825F-4BE907904B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563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306583-62DA-09DC-832D-379C3CF6F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FD5578-686C-E548-62C5-E64D4E2FF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rkov Decision Process (MDP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298C4D5-7E0C-7B3D-955D-578E312A904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b="0" dirty="0"/>
                  <a:t>Used to model decision-making in situations where outcomes are jointly under the control of a </a:t>
                </a:r>
                <a:r>
                  <a:rPr lang="en-US" b="1" dirty="0"/>
                  <a:t>decision-maker </a:t>
                </a:r>
                <a:r>
                  <a:rPr lang="en-US" dirty="0"/>
                  <a:t>and partly </a:t>
                </a:r>
                <a:r>
                  <a:rPr lang="en-US" b="1" dirty="0"/>
                  <a:t>random.</a:t>
                </a:r>
              </a:p>
              <a:p>
                <a:pPr marL="0" indent="0">
                  <a:buNone/>
                </a:pPr>
                <a:r>
                  <a:rPr lang="en-US" b="1" dirty="0"/>
                  <a:t>Assumptions:</a:t>
                </a:r>
              </a:p>
              <a:p>
                <a:pPr marL="0" indent="0">
                  <a:buNone/>
                </a:pPr>
                <a:r>
                  <a:rPr lang="en-US" b="1" dirty="0"/>
                  <a:t>	Markov Property: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 ⋯,</m:t>
                        </m:r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endParaRPr lang="en-US" b="1" dirty="0"/>
              </a:p>
              <a:p>
                <a:pPr marL="0" indent="0">
                  <a:buNone/>
                </a:pPr>
                <a:r>
                  <a:rPr lang="en-US" b="1" dirty="0"/>
                  <a:t>		</a:t>
                </a:r>
                <a:r>
                  <a:rPr lang="en-US" dirty="0"/>
                  <a:t>i.e. the future state depends </a:t>
                </a:r>
                <a:r>
                  <a:rPr lang="en-US" b="1" dirty="0"/>
                  <a:t>only</a:t>
                </a:r>
                <a:r>
                  <a:rPr lang="en-US" dirty="0"/>
                  <a:t> on the current state and action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Finite State and Action</a:t>
                </a:r>
                <a:r>
                  <a:rPr lang="en-US" dirty="0"/>
                  <a:t> </a:t>
                </a:r>
                <a:r>
                  <a:rPr lang="en-US" b="1" dirty="0"/>
                  <a:t>Spaces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Stationary Transition Probabilities and Rewards</a:t>
                </a:r>
              </a:p>
              <a:p>
                <a:pPr marL="0" indent="0">
                  <a:buNone/>
                </a:pPr>
                <a:r>
                  <a:rPr lang="en-US" b="1" dirty="0"/>
                  <a:t>	Full Observability</a:t>
                </a:r>
              </a:p>
              <a:p>
                <a:pPr marL="0" indent="0">
                  <a:buNone/>
                </a:pPr>
                <a:r>
                  <a:rPr lang="en-US" b="1" dirty="0"/>
                  <a:t>	Bounded Reward</a:t>
                </a:r>
              </a:p>
              <a:p>
                <a:pPr marL="0" indent="0">
                  <a:buNone/>
                </a:pPr>
                <a:r>
                  <a:rPr lang="en-US" b="1" dirty="0"/>
                  <a:t>	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298C4D5-7E0C-7B3D-955D-578E312A904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  <a:blipFill>
                <a:blip r:embed="rId5"/>
                <a:stretch>
                  <a:fillRect l="-1173" t="-16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9445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0ACE08-46DA-609E-0E71-6AF245BB28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7E3FD8-6485-64ED-0A37-DC00E1FF14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4ADF50-5778-5EF6-825F-4BE907904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8572D5-1F41-E953-8782-A6BE6B051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rkov Decision Process (MDP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7AB0759-F772-6E3C-2494-661156726172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dirty="0"/>
                  <a:t>An </a:t>
                </a:r>
                <a:r>
                  <a:rPr lang="en-US" b="1" dirty="0"/>
                  <a:t>agent</a:t>
                </a:r>
                <a:r>
                  <a:rPr lang="en-US" dirty="0"/>
                  <a:t> will cycle through a series of states, actions, and rewards</a:t>
                </a:r>
              </a:p>
              <a:p>
                <a:pPr marL="0" indent="0">
                  <a:buNone/>
                </a:pPr>
                <a:r>
                  <a:rPr lang="en-US" b="1" dirty="0"/>
                  <a:t>Framework:</a:t>
                </a:r>
              </a:p>
              <a:p>
                <a:pPr marL="0" indent="0">
                  <a:buNone/>
                </a:pPr>
                <a:r>
                  <a:rPr lang="en-US" b="1" dirty="0"/>
                  <a:t>	Set of Possible States</a:t>
                </a:r>
              </a:p>
              <a:p>
                <a:pPr marL="0" indent="0">
                  <a:buNone/>
                </a:pPr>
                <a:r>
                  <a:rPr lang="en-US" b="1" dirty="0"/>
                  <a:t>	Set of Possible Actions</a:t>
                </a:r>
              </a:p>
              <a:p>
                <a:pPr marL="0" indent="0">
                  <a:buNone/>
                </a:pPr>
                <a:r>
                  <a:rPr lang="en-US" b="1" dirty="0"/>
                  <a:t>	Reward Model: </a:t>
                </a:r>
                <a:r>
                  <a:rPr lang="en-US" dirty="0"/>
                  <a:t>assigns rewards to given state and action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Value Function:</a:t>
                </a:r>
                <a:r>
                  <a:rPr lang="en-US" dirty="0"/>
                  <a:t> </a:t>
                </a:r>
                <a:r>
                  <a:rPr lang="en-US" i="1" dirty="0"/>
                  <a:t>total</a:t>
                </a:r>
                <a:r>
                  <a:rPr lang="en-US" dirty="0"/>
                  <a:t> reward expected to accumulate from given state</a:t>
                </a:r>
              </a:p>
              <a:p>
                <a:pPr marL="0" indent="0">
                  <a:buNone/>
                </a:pPr>
                <a:r>
                  <a:rPr lang="en-US" b="1" dirty="0"/>
                  <a:t>	Transition Model:</a:t>
                </a:r>
                <a:r>
                  <a:rPr lang="en-US" dirty="0"/>
                  <a:t> PMF over next state given current state and action </a:t>
                </a:r>
              </a:p>
              <a:p>
                <a:pPr marL="0" indent="0">
                  <a:buNone/>
                </a:pPr>
                <a:r>
                  <a:rPr lang="en-US" b="1" dirty="0"/>
                  <a:t>	Policy (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𝝅</m:t>
                    </m:r>
                  </m:oMath>
                </a14:m>
                <a:r>
                  <a:rPr lang="en-US" b="1" dirty="0"/>
                  <a:t>): </a:t>
                </a:r>
                <a:r>
                  <a:rPr lang="en-US" dirty="0"/>
                  <a:t>maps an action to a given state</a:t>
                </a:r>
                <a:endParaRPr lang="en-US" b="1" dirty="0"/>
              </a:p>
              <a:p>
                <a:pPr marL="0" indent="0">
                  <a:buNone/>
                </a:pPr>
                <a:r>
                  <a:rPr lang="en-US" b="1" dirty="0"/>
                  <a:t>	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7AB0759-F772-6E3C-2494-66115672617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24128" y="2233450"/>
                <a:ext cx="9720073" cy="4572000"/>
              </a:xfrm>
              <a:blipFill>
                <a:blip r:embed="rId5"/>
                <a:stretch>
                  <a:fillRect l="-1173" t="-16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7994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77F1C-343A-A3A8-2552-367AEDD7BA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1DE8697-FA48-23A0-B4A6-C68AC1762D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41E95-3985-BDDF-F3B6-8D61DCA80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39F706-DA27-4EE7-96BF-E5C0839BD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ward an “optimal” Strateg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62CE56B-6E17-AE50-1745-BDF58C15636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024128" y="1928650"/>
                <a:ext cx="9720073" cy="4766440"/>
              </a:xfrm>
            </p:spPr>
            <p:txBody>
              <a:bodyPr>
                <a:normAutofit lnSpcReduction="10000"/>
              </a:bodyPr>
              <a:lstStyle/>
              <a:p>
                <a:pPr marL="0" indent="0">
                  <a:buNone/>
                </a:pPr>
                <a:r>
                  <a:rPr lang="en-US" dirty="0"/>
                  <a:t>In a 2-player game, observe that Pig is a sequence of transitions between states. Our goal is maximize expected</a:t>
                </a:r>
                <a:r>
                  <a:rPr lang="en-US" b="1" dirty="0"/>
                  <a:t> </a:t>
                </a:r>
                <a:r>
                  <a:rPr lang="en-US" dirty="0"/>
                  <a:t>gains while managing risks.</a:t>
                </a:r>
              </a:p>
              <a:p>
                <a:pPr marL="0" indent="0">
                  <a:buNone/>
                </a:pPr>
                <a:r>
                  <a:rPr lang="en-US" dirty="0"/>
                  <a:t>Let the triplet </a:t>
                </a:r>
                <a:r>
                  <a:rPr lang="en-US" b="1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𝒎𝒆</m:t>
                        </m:r>
                      </m:sub>
                    </m:sSub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𝒐𝒑</m:t>
                        </m:r>
                      </m:sub>
                    </m:sSub>
                  </m:oMath>
                </a14:m>
                <a:r>
                  <a:rPr lang="en-US" b="1" dirty="0"/>
                  <a:t>)</a:t>
                </a:r>
                <a:r>
                  <a:rPr lang="en-US" dirty="0"/>
                  <a:t> define a </a:t>
                </a:r>
                <a:r>
                  <a:rPr lang="en-US" b="1" dirty="0"/>
                  <a:t>game state (S):</a:t>
                </a: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Our current turn total, </a:t>
                </a:r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</a:rPr>
                      <m:t>𝐓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∈[0,10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5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Our current scor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𝒎𝒆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∈[0,10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5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	Our opponent’s score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𝒐𝒑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∈[0,10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5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At each game state, we can take two </a:t>
                </a:r>
                <a:r>
                  <a:rPr lang="en-US" b="1" dirty="0"/>
                  <a:t>actions (A)</a:t>
                </a:r>
                <a:r>
                  <a:rPr lang="en-US" dirty="0"/>
                  <a:t>: 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Roll</a:t>
                </a:r>
                <a:r>
                  <a:rPr lang="en-US" dirty="0"/>
                  <a:t> the die and </a:t>
                </a:r>
              </a:p>
              <a:p>
                <a:pPr marL="0" indent="0">
                  <a:buNone/>
                </a:pPr>
                <a:r>
                  <a:rPr lang="en-US" dirty="0"/>
                  <a:t>		a) roll a 2:6, and add its outcom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dirty="0"/>
                  <a:t> to the turn total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dirty="0"/>
                  <a:t> </a:t>
                </a:r>
              </a:p>
              <a:p>
                <a:pPr marL="0" indent="0">
                  <a:buNone/>
                </a:pPr>
                <a:r>
                  <a:rPr lang="en-US" dirty="0"/>
                  <a:t>		b) roll a 1, ending our turn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Hold</a:t>
                </a:r>
                <a:r>
                  <a:rPr lang="en-US" dirty="0"/>
                  <a:t> the turn total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n-US" dirty="0"/>
                  <a:t>, add it to our current sco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𝑒</m:t>
                        </m:r>
                      </m:sub>
                    </m:sSub>
                  </m:oMath>
                </a14:m>
                <a:r>
                  <a:rPr lang="en-US" dirty="0"/>
                  <a:t>, and end our turn</a:t>
                </a:r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62CE56B-6E17-AE50-1745-BDF58C15636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024128" y="1928650"/>
                <a:ext cx="9720073" cy="4766440"/>
              </a:xfrm>
              <a:blipFill>
                <a:blip r:embed="rId5"/>
                <a:stretch>
                  <a:fillRect l="-1173" t="-2122" r="-652" b="-10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67449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197274-5DDA-B68D-FA86-933B83FFB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E9EA38-629C-B2A8-308A-87C3849DC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340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41E95-3985-BDDF-F3B6-8D61DCA80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7B8E89-0509-75EB-82CB-3FFCFEC17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oward an “optimal” Strateg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070EC410-B1AF-8C20-1B8B-FFA36E41D2D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773193" y="2084832"/>
                <a:ext cx="10221941" cy="4572000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dirty="0"/>
                  <a:t>The outcome of the die determines our</a:t>
                </a:r>
                <a:r>
                  <a:rPr lang="en-US" b="1" dirty="0"/>
                  <a:t> transition probabilities </a:t>
                </a:r>
                <a:r>
                  <a:rPr lang="en-US" dirty="0"/>
                  <a:t>between states:</a:t>
                </a:r>
              </a:p>
              <a:p>
                <a:pPr marL="0" indent="0">
                  <a:buNone/>
                </a:pPr>
                <a:r>
                  <a:rPr lang="en-US" dirty="0"/>
                  <a:t>	Roll 1: Our turn ends; state transitions to (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</a:rPr>
                      <m:t>0, </m:t>
                    </m:r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𝑒</m:t>
                        </m:r>
                      </m:sub>
                    </m:sSub>
                    <m:r>
                      <a:rPr lang="en-US" b="0" i="0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𝑝</m:t>
                        </m:r>
                      </m:sub>
                    </m:sSub>
                  </m:oMath>
                </a14:m>
                <a:r>
                  <a:rPr lang="en-US" dirty="0"/>
                  <a:t>) with the opponent’s turn.</a:t>
                </a:r>
              </a:p>
              <a:p>
                <a:pPr marL="0" indent="0">
                  <a:buNone/>
                </a:pPr>
                <a:r>
                  <a:rPr lang="en-US" dirty="0"/>
                  <a:t>	Roll 2-6: Turn total </a:t>
                </a:r>
                <a:r>
                  <a:rPr lang="en-US" b="1" dirty="0"/>
                  <a:t>T</a:t>
                </a:r>
                <a:r>
                  <a:rPr lang="en-US" dirty="0"/>
                  <a:t> increases; state transitions to (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𝑒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𝑝</m:t>
                        </m:r>
                      </m:sub>
                    </m:sSub>
                  </m:oMath>
                </a14:m>
                <a:r>
                  <a:rPr lang="en-US" dirty="0"/>
                  <a:t>), still our turn.</a:t>
                </a:r>
              </a:p>
              <a:p>
                <a:pPr marL="0" indent="0">
                  <a:buNone/>
                </a:pPr>
                <a:r>
                  <a:rPr lang="en-US" dirty="0"/>
                  <a:t>Define a simple </a:t>
                </a:r>
                <a:r>
                  <a:rPr lang="en-US" b="1" dirty="0"/>
                  <a:t>reward</a:t>
                </a:r>
                <a:r>
                  <a:rPr lang="en-US" dirty="0"/>
                  <a:t> </a:t>
                </a:r>
                <a:r>
                  <a:rPr lang="en-US" b="1" dirty="0"/>
                  <a:t>model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+1</a:t>
                </a:r>
                <a:r>
                  <a:rPr lang="en-US" dirty="0"/>
                  <a:t> if we win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𝑚𝑒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100</m:t>
                    </m:r>
                  </m:oMath>
                </a14:m>
                <a:r>
                  <a:rPr lang="en-US" dirty="0"/>
                  <a:t>)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-1 </a:t>
                </a:r>
                <a:r>
                  <a:rPr lang="en-US" dirty="0"/>
                  <a:t>if we los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𝑝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≥100</m:t>
                    </m:r>
                  </m:oMath>
                </a14:m>
                <a:r>
                  <a:rPr lang="en-US" dirty="0"/>
                  <a:t>)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  <a:r>
                  <a:rPr lang="en-US" b="1" dirty="0"/>
                  <a:t>0</a:t>
                </a:r>
                <a:r>
                  <a:rPr lang="en-US" dirty="0"/>
                  <a:t> otherwise</a:t>
                </a:r>
              </a:p>
              <a:p>
                <a:pPr marL="0" indent="0">
                  <a:buNone/>
                </a:pPr>
                <a:r>
                  <a:rPr lang="en-US" dirty="0"/>
                  <a:t>	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070EC410-B1AF-8C20-1B8B-FFA36E41D2D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73193" y="2084832"/>
                <a:ext cx="10221941" cy="4572000"/>
              </a:xfrm>
              <a:blipFill>
                <a:blip r:embed="rId5"/>
                <a:stretch>
                  <a:fillRect l="-1117" t="-19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52383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08</TotalTime>
  <Words>1045</Words>
  <Application>Microsoft Macintosh PowerPoint</Application>
  <PresentationFormat>Widescreen</PresentationFormat>
  <Paragraphs>147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.AppleSystemUIFont</vt:lpstr>
      <vt:lpstr>Arial</vt:lpstr>
      <vt:lpstr>Cambria Math</vt:lpstr>
      <vt:lpstr>Courier New</vt:lpstr>
      <vt:lpstr>Tw Cen MT</vt:lpstr>
      <vt:lpstr>Tw Cen MT Condensed</vt:lpstr>
      <vt:lpstr>Wingdings 3</vt:lpstr>
      <vt:lpstr>Integral</vt:lpstr>
      <vt:lpstr>think-cell Slide</vt:lpstr>
      <vt:lpstr>Pig: a Dice Game  of Strategic chance</vt:lpstr>
      <vt:lpstr>How to Play</vt:lpstr>
      <vt:lpstr>Heuristic Strategy</vt:lpstr>
      <vt:lpstr>Results of different “Hold” Thresholds </vt:lpstr>
      <vt:lpstr>Results of different “Hold” Thresholds </vt:lpstr>
      <vt:lpstr>Markov Decision Process (MDP)</vt:lpstr>
      <vt:lpstr>Markov Decision Process (MDP)</vt:lpstr>
      <vt:lpstr>Toward an “optimal” Strategy</vt:lpstr>
      <vt:lpstr>Toward an “optimal” Strategy</vt:lpstr>
      <vt:lpstr>Solving for the “optimal” Strategy</vt:lpstr>
      <vt:lpstr>adjustments for convergence</vt:lpstr>
      <vt:lpstr>Evidence of sensible OPTIMAL policy</vt:lpstr>
      <vt:lpstr>Evidence of sensible STAte values</vt:lpstr>
      <vt:lpstr>Two Heuristic AGENTS</vt:lpstr>
      <vt:lpstr>Two optimal AGENTS</vt:lpstr>
      <vt:lpstr>Optimal vs. Heuristic AGENT</vt:lpstr>
      <vt:lpstr>Further investigations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eliz, Elder</dc:creator>
  <cp:lastModifiedBy>Veliz, Elder</cp:lastModifiedBy>
  <cp:revision>5</cp:revision>
  <dcterms:created xsi:type="dcterms:W3CDTF">2024-12-03T01:33:44Z</dcterms:created>
  <dcterms:modified xsi:type="dcterms:W3CDTF">2024-12-10T20:02:20Z</dcterms:modified>
</cp:coreProperties>
</file>